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39"/>
  </p:notesMasterIdLst>
  <p:handoutMasterIdLst>
    <p:handoutMasterId r:id="rId40"/>
  </p:handoutMasterIdLst>
  <p:sldIdLst>
    <p:sldId id="430" r:id="rId2"/>
    <p:sldId id="431" r:id="rId3"/>
    <p:sldId id="311" r:id="rId4"/>
    <p:sldId id="443" r:id="rId5"/>
    <p:sldId id="440" r:id="rId6"/>
    <p:sldId id="451" r:id="rId7"/>
    <p:sldId id="441" r:id="rId8"/>
    <p:sldId id="452" r:id="rId9"/>
    <p:sldId id="439" r:id="rId10"/>
    <p:sldId id="455" r:id="rId11"/>
    <p:sldId id="457" r:id="rId12"/>
    <p:sldId id="468" r:id="rId13"/>
    <p:sldId id="467" r:id="rId14"/>
    <p:sldId id="458" r:id="rId15"/>
    <p:sldId id="459" r:id="rId16"/>
    <p:sldId id="460" r:id="rId17"/>
    <p:sldId id="461" r:id="rId18"/>
    <p:sldId id="469" r:id="rId19"/>
    <p:sldId id="462" r:id="rId20"/>
    <p:sldId id="463" r:id="rId21"/>
    <p:sldId id="464" r:id="rId22"/>
    <p:sldId id="465" r:id="rId23"/>
    <p:sldId id="470" r:id="rId24"/>
    <p:sldId id="471" r:id="rId25"/>
    <p:sldId id="472" r:id="rId26"/>
    <p:sldId id="466" r:id="rId27"/>
    <p:sldId id="436" r:id="rId28"/>
    <p:sldId id="473" r:id="rId29"/>
    <p:sldId id="474" r:id="rId30"/>
    <p:sldId id="479" r:id="rId31"/>
    <p:sldId id="480" r:id="rId32"/>
    <p:sldId id="481" r:id="rId33"/>
    <p:sldId id="475" r:id="rId34"/>
    <p:sldId id="445" r:id="rId35"/>
    <p:sldId id="446" r:id="rId36"/>
    <p:sldId id="429" r:id="rId37"/>
    <p:sldId id="454" r:id="rId38"/>
  </p:sldIdLst>
  <p:sldSz cx="12192000" cy="6858000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 custT="1"/>
      <dgm:spPr/>
      <dgm:t>
        <a:bodyPr/>
        <a:lstStyle/>
        <a:p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Datensätzen durch Verzerrungsübertragung auf ein </a:t>
          </a:r>
          <a:r>
            <a:rPr kumimoji="0" lang="de-DE" sz="1600" b="0" i="0" u="none" strike="noStrike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8F7715-BDAF-4B43-87DF-7829718B7110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56A4452-B9C1-4BD8-86A4-FF5AE6D402E7}">
      <dgm:prSet phldrT="[Text]"/>
      <dgm:spPr/>
      <dgm:t>
        <a:bodyPr/>
        <a:lstStyle/>
        <a:p>
          <a:r>
            <a:rPr lang="de-DE" dirty="0"/>
            <a:t>+</a:t>
          </a:r>
        </a:p>
      </dgm:t>
    </dgm:pt>
    <dgm:pt modelId="{9F2D6AE8-247C-4A5E-996E-9D32827D1900}" type="parTrans" cxnId="{796BEB2A-2EF2-4227-BAD5-546D080F1625}">
      <dgm:prSet/>
      <dgm:spPr/>
      <dgm:t>
        <a:bodyPr/>
        <a:lstStyle/>
        <a:p>
          <a:endParaRPr lang="de-DE"/>
        </a:p>
      </dgm:t>
    </dgm:pt>
    <dgm:pt modelId="{A1382843-D288-4CBE-83D5-C288D393ECD8}" type="sibTrans" cxnId="{796BEB2A-2EF2-4227-BAD5-546D080F1625}">
      <dgm:prSet/>
      <dgm:spPr/>
      <dgm:t>
        <a:bodyPr/>
        <a:lstStyle/>
        <a:p>
          <a:endParaRPr lang="de-DE"/>
        </a:p>
      </dgm:t>
    </dgm:pt>
    <dgm:pt modelId="{1933BC3C-3374-4783-A23C-7B791EE67ED7}">
      <dgm:prSet phldrT="[Text]"/>
      <dgm:spPr/>
      <dgm:t>
        <a:bodyPr/>
        <a:lstStyle/>
        <a:p>
          <a:r>
            <a:rPr lang="de-DE" dirty="0"/>
            <a:t>Sehr akkurat</a:t>
          </a:r>
        </a:p>
      </dgm:t>
    </dgm:pt>
    <dgm:pt modelId="{7C4DDA24-6BA7-4ADF-A864-FEFC916D4A04}" type="parTrans" cxnId="{47038B28-CC35-4DC0-99FF-A151A5A9A56C}">
      <dgm:prSet/>
      <dgm:spPr/>
      <dgm:t>
        <a:bodyPr/>
        <a:lstStyle/>
        <a:p>
          <a:endParaRPr lang="de-DE"/>
        </a:p>
      </dgm:t>
    </dgm:pt>
    <dgm:pt modelId="{5A6412BB-36BA-40C5-897E-5EEA49006452}" type="sibTrans" cxnId="{47038B28-CC35-4DC0-99FF-A151A5A9A56C}">
      <dgm:prSet/>
      <dgm:spPr/>
      <dgm:t>
        <a:bodyPr/>
        <a:lstStyle/>
        <a:p>
          <a:endParaRPr lang="de-DE"/>
        </a:p>
      </dgm:t>
    </dgm:pt>
    <dgm:pt modelId="{B05A6846-80CA-40E1-B5D9-3AFF1AFB5546}">
      <dgm:prSet phldrT="[Text]"/>
      <dgm:spPr/>
      <dgm:t>
        <a:bodyPr/>
        <a:lstStyle/>
        <a:p>
          <a:r>
            <a:rPr lang="de-DE" dirty="0"/>
            <a:t>Kontextunabhängigkeit</a:t>
          </a:r>
        </a:p>
      </dgm:t>
    </dgm:pt>
    <dgm:pt modelId="{0E42B853-D692-4A6A-8B3F-76A8B5A73FC6}" type="parTrans" cxnId="{00262177-29BC-4115-A38D-9F3A03CC759B}">
      <dgm:prSet/>
      <dgm:spPr/>
      <dgm:t>
        <a:bodyPr/>
        <a:lstStyle/>
        <a:p>
          <a:endParaRPr lang="de-DE"/>
        </a:p>
      </dgm:t>
    </dgm:pt>
    <dgm:pt modelId="{ECB4157B-F03C-4452-9CC6-84C0A46C619D}" type="sibTrans" cxnId="{00262177-29BC-4115-A38D-9F3A03CC759B}">
      <dgm:prSet/>
      <dgm:spPr/>
      <dgm:t>
        <a:bodyPr/>
        <a:lstStyle/>
        <a:p>
          <a:endParaRPr lang="de-DE"/>
        </a:p>
      </dgm:t>
    </dgm:pt>
    <dgm:pt modelId="{31599D91-1052-4A01-8D57-F6D501814363}">
      <dgm:prSet phldrT="[Text]"/>
      <dgm:spPr/>
      <dgm:t>
        <a:bodyPr/>
        <a:lstStyle/>
        <a:p>
          <a:r>
            <a:rPr lang="de-DE" dirty="0"/>
            <a:t>-</a:t>
          </a:r>
        </a:p>
      </dgm:t>
    </dgm:pt>
    <dgm:pt modelId="{8A090071-32A4-4440-88D5-25BC21DD577C}" type="parTrans" cxnId="{53271173-B949-4A35-ABF0-29FB70390268}">
      <dgm:prSet/>
      <dgm:spPr/>
      <dgm:t>
        <a:bodyPr/>
        <a:lstStyle/>
        <a:p>
          <a:endParaRPr lang="de-DE"/>
        </a:p>
      </dgm:t>
    </dgm:pt>
    <dgm:pt modelId="{4F70F39E-D888-4AC5-B62D-A8A759C6BEBE}" type="sibTrans" cxnId="{53271173-B949-4A35-ABF0-29FB70390268}">
      <dgm:prSet/>
      <dgm:spPr/>
      <dgm:t>
        <a:bodyPr/>
        <a:lstStyle/>
        <a:p>
          <a:endParaRPr lang="de-DE"/>
        </a:p>
      </dgm:t>
    </dgm:pt>
    <dgm:pt modelId="{FCE4739F-E7FF-481F-AC1D-60C612D40ED9}">
      <dgm:prSet phldrT="[Text]"/>
      <dgm:spPr/>
      <dgm:t>
        <a:bodyPr/>
        <a:lstStyle/>
        <a:p>
          <a:r>
            <a:rPr lang="de-DE" dirty="0"/>
            <a:t>Sehr schlechte Laufzeit</a:t>
          </a:r>
        </a:p>
      </dgm:t>
    </dgm:pt>
    <dgm:pt modelId="{31442727-3D17-4ACE-A28C-C5EFFDD08344}" type="parTrans" cxnId="{E313C37E-80BE-4274-9F53-844382669DBF}">
      <dgm:prSet/>
      <dgm:spPr/>
      <dgm:t>
        <a:bodyPr/>
        <a:lstStyle/>
        <a:p>
          <a:endParaRPr lang="de-DE"/>
        </a:p>
      </dgm:t>
    </dgm:pt>
    <dgm:pt modelId="{6CF3FF63-177E-43AF-8988-E3C5A3622F3A}" type="sibTrans" cxnId="{E313C37E-80BE-4274-9F53-844382669DBF}">
      <dgm:prSet/>
      <dgm:spPr/>
      <dgm:t>
        <a:bodyPr/>
        <a:lstStyle/>
        <a:p>
          <a:endParaRPr lang="de-DE"/>
        </a:p>
      </dgm:t>
    </dgm:pt>
    <dgm:pt modelId="{1CA9514B-FBED-4A47-8B3B-F7A5B2FD4D83}">
      <dgm:prSet phldrT="[Text]"/>
      <dgm:spPr/>
      <dgm:t>
        <a:bodyPr/>
        <a:lstStyle/>
        <a:p>
          <a:r>
            <a:rPr lang="de-DE" dirty="0"/>
            <a:t>Gigantischer Speicherbedarf</a:t>
          </a:r>
        </a:p>
      </dgm:t>
    </dgm:pt>
    <dgm:pt modelId="{8974C49B-C37B-4432-ABAB-EABED4EDE520}" type="parTrans" cxnId="{700712BC-C041-44AF-AFE4-C18CB6038108}">
      <dgm:prSet/>
      <dgm:spPr/>
      <dgm:t>
        <a:bodyPr/>
        <a:lstStyle/>
        <a:p>
          <a:endParaRPr lang="de-DE"/>
        </a:p>
      </dgm:t>
    </dgm:pt>
    <dgm:pt modelId="{7CCB0869-8403-44CE-8610-442412EBE4C6}" type="sibTrans" cxnId="{700712BC-C041-44AF-AFE4-C18CB6038108}">
      <dgm:prSet/>
      <dgm:spPr/>
      <dgm:t>
        <a:bodyPr/>
        <a:lstStyle/>
        <a:p>
          <a:endParaRPr lang="de-DE"/>
        </a:p>
      </dgm:t>
    </dgm:pt>
    <dgm:pt modelId="{F4A1FDAC-D0A1-4B0A-A574-0F4D3C2DB4ED}">
      <dgm:prSet phldrT="[Text]"/>
      <dgm:spPr/>
      <dgm:t>
        <a:bodyPr/>
        <a:lstStyle/>
        <a:p>
          <a:r>
            <a:rPr lang="de-DE" dirty="0"/>
            <a:t>Bias-Analyse des ML Modells</a:t>
          </a:r>
        </a:p>
      </dgm:t>
    </dgm:pt>
    <dgm:pt modelId="{AD2655C5-8AE8-4416-98C0-86C8901AEEEF}" type="parTrans" cxnId="{7CC65397-6F45-4CEF-A8A2-46D4245F7CED}">
      <dgm:prSet/>
      <dgm:spPr/>
      <dgm:t>
        <a:bodyPr/>
        <a:lstStyle/>
        <a:p>
          <a:endParaRPr lang="de-DE"/>
        </a:p>
      </dgm:t>
    </dgm:pt>
    <dgm:pt modelId="{A1818A3E-8A52-4FDE-90C1-D20F5B51C47A}" type="sibTrans" cxnId="{7CC65397-6F45-4CEF-A8A2-46D4245F7CED}">
      <dgm:prSet/>
      <dgm:spPr/>
      <dgm:t>
        <a:bodyPr/>
        <a:lstStyle/>
        <a:p>
          <a:endParaRPr lang="de-DE"/>
        </a:p>
      </dgm:t>
    </dgm:pt>
    <dgm:pt modelId="{B7E62698-AE07-48BB-8F18-C45EAB521E9A}">
      <dgm:prSet phldrT="[Text]"/>
      <dgm:spPr/>
      <dgm:t>
        <a:bodyPr/>
        <a:lstStyle/>
        <a:p>
          <a:r>
            <a:rPr lang="de-DE" dirty="0"/>
            <a:t>Keine Aussage über Input</a:t>
          </a:r>
        </a:p>
      </dgm:t>
    </dgm:pt>
    <dgm:pt modelId="{00DD0D48-9887-41D8-A3C1-CA9FB5685BB4}" type="parTrans" cxnId="{257A5567-F7FE-4E53-90AF-3A16247573CA}">
      <dgm:prSet/>
      <dgm:spPr/>
      <dgm:t>
        <a:bodyPr/>
        <a:lstStyle/>
        <a:p>
          <a:endParaRPr lang="de-DE"/>
        </a:p>
      </dgm:t>
    </dgm:pt>
    <dgm:pt modelId="{CD168841-DFDC-4D67-87EB-BEDB790504F2}" type="sibTrans" cxnId="{257A5567-F7FE-4E53-90AF-3A16247573CA}">
      <dgm:prSet/>
      <dgm:spPr/>
      <dgm:t>
        <a:bodyPr/>
        <a:lstStyle/>
        <a:p>
          <a:endParaRPr lang="de-DE"/>
        </a:p>
      </dgm:t>
    </dgm:pt>
    <dgm:pt modelId="{CEA01C31-4656-4488-ADD7-B1F13696923E}" type="pres">
      <dgm:prSet presAssocID="{278F7715-BDAF-4B43-87DF-7829718B7110}" presName="layout" presStyleCnt="0">
        <dgm:presLayoutVars>
          <dgm:chMax/>
          <dgm:chPref/>
          <dgm:dir/>
          <dgm:resizeHandles/>
        </dgm:presLayoutVars>
      </dgm:prSet>
      <dgm:spPr/>
    </dgm:pt>
    <dgm:pt modelId="{5AF1AEBE-713E-422C-BCB2-38517A2279F0}" type="pres">
      <dgm:prSet presAssocID="{756A4452-B9C1-4BD8-86A4-FF5AE6D402E7}" presName="root" presStyleCnt="0">
        <dgm:presLayoutVars>
          <dgm:chMax/>
          <dgm:chPref/>
        </dgm:presLayoutVars>
      </dgm:prSet>
      <dgm:spPr/>
    </dgm:pt>
    <dgm:pt modelId="{AC23AA6E-E751-46B1-B1F1-809513F6860E}" type="pres">
      <dgm:prSet presAssocID="{756A4452-B9C1-4BD8-86A4-FF5AE6D402E7}" presName="rootComposite" presStyleCnt="0">
        <dgm:presLayoutVars/>
      </dgm:prSet>
      <dgm:spPr/>
    </dgm:pt>
    <dgm:pt modelId="{C1F57F84-B2B8-41B4-B06E-076B772F881E}" type="pres">
      <dgm:prSet presAssocID="{756A4452-B9C1-4BD8-86A4-FF5AE6D402E7}" presName="ParentAccent" presStyleLbl="alignNode1" presStyleIdx="0" presStyleCnt="2"/>
      <dgm:spPr>
        <a:solidFill>
          <a:srgbClr val="92D050"/>
        </a:solidFill>
      </dgm:spPr>
    </dgm:pt>
    <dgm:pt modelId="{7C5A7BB7-277D-47DA-9C9A-44BB81032E38}" type="pres">
      <dgm:prSet presAssocID="{756A4452-B9C1-4BD8-86A4-FF5AE6D402E7}" presName="ParentSmallAccent" presStyleLbl="fgAcc1" presStyleIdx="0" presStyleCnt="2"/>
      <dgm:spPr/>
    </dgm:pt>
    <dgm:pt modelId="{089780F8-AF6C-4E1D-AA81-6FEFB1835D5B}" type="pres">
      <dgm:prSet presAssocID="{756A4452-B9C1-4BD8-86A4-FF5AE6D402E7}" presName="Parent" presStyleLbl="revTx" presStyleIdx="0" presStyleCnt="8">
        <dgm:presLayoutVars>
          <dgm:chMax/>
          <dgm:chPref val="4"/>
          <dgm:bulletEnabled val="1"/>
        </dgm:presLayoutVars>
      </dgm:prSet>
      <dgm:spPr/>
    </dgm:pt>
    <dgm:pt modelId="{B21D7BEF-F32E-42F6-811E-306277DD5D24}" type="pres">
      <dgm:prSet presAssocID="{756A4452-B9C1-4BD8-86A4-FF5AE6D402E7}" presName="childShape" presStyleCnt="0">
        <dgm:presLayoutVars>
          <dgm:chMax val="0"/>
          <dgm:chPref val="0"/>
        </dgm:presLayoutVars>
      </dgm:prSet>
      <dgm:spPr/>
    </dgm:pt>
    <dgm:pt modelId="{E01B51F1-8605-41F9-9F2D-E416BFEBF7D1}" type="pres">
      <dgm:prSet presAssocID="{1933BC3C-3374-4783-A23C-7B791EE67ED7}" presName="childComposite" presStyleCnt="0">
        <dgm:presLayoutVars>
          <dgm:chMax val="0"/>
          <dgm:chPref val="0"/>
        </dgm:presLayoutVars>
      </dgm:prSet>
      <dgm:spPr/>
    </dgm:pt>
    <dgm:pt modelId="{D3A1307F-9193-4FF8-AABC-CD18E1C5C684}" type="pres">
      <dgm:prSet presAssocID="{1933BC3C-3374-4783-A23C-7B791EE67ED7}" presName="ChildAccent" presStyleLbl="solidFgAcc1" presStyleIdx="0" presStyleCnt="6"/>
      <dgm:spPr/>
    </dgm:pt>
    <dgm:pt modelId="{8A3AE69F-595D-4BCD-B6F2-15C52D05B8EA}" type="pres">
      <dgm:prSet presAssocID="{1933BC3C-3374-4783-A23C-7B791EE67ED7}" presName="Child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192EB069-130A-478D-B920-DBC46C4EF5FB}" type="pres">
      <dgm:prSet presAssocID="{B05A6846-80CA-40E1-B5D9-3AFF1AFB5546}" presName="childComposite" presStyleCnt="0">
        <dgm:presLayoutVars>
          <dgm:chMax val="0"/>
          <dgm:chPref val="0"/>
        </dgm:presLayoutVars>
      </dgm:prSet>
      <dgm:spPr/>
    </dgm:pt>
    <dgm:pt modelId="{6F752E51-F7AF-468E-8CA3-F97D2A71E5F5}" type="pres">
      <dgm:prSet presAssocID="{B05A6846-80CA-40E1-B5D9-3AFF1AFB5546}" presName="ChildAccent" presStyleLbl="solidFgAcc1" presStyleIdx="1" presStyleCnt="6"/>
      <dgm:spPr/>
    </dgm:pt>
    <dgm:pt modelId="{B62B32EC-2E01-4955-B6EF-88244FE66D3A}" type="pres">
      <dgm:prSet presAssocID="{B05A6846-80CA-40E1-B5D9-3AFF1AFB5546}" presName="Child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B052F3A1-6148-4B0D-A7F8-C83FB44C555B}" type="pres">
      <dgm:prSet presAssocID="{F4A1FDAC-D0A1-4B0A-A574-0F4D3C2DB4ED}" presName="childComposite" presStyleCnt="0">
        <dgm:presLayoutVars>
          <dgm:chMax val="0"/>
          <dgm:chPref val="0"/>
        </dgm:presLayoutVars>
      </dgm:prSet>
      <dgm:spPr/>
    </dgm:pt>
    <dgm:pt modelId="{3CF2E9EA-7DB7-414B-A3B6-E15081AFA868}" type="pres">
      <dgm:prSet presAssocID="{F4A1FDAC-D0A1-4B0A-A574-0F4D3C2DB4ED}" presName="ChildAccent" presStyleLbl="solidFgAcc1" presStyleIdx="2" presStyleCnt="6"/>
      <dgm:spPr/>
    </dgm:pt>
    <dgm:pt modelId="{E0AC5D6D-01D3-4B9B-879D-00C63335141B}" type="pres">
      <dgm:prSet presAssocID="{F4A1FDAC-D0A1-4B0A-A574-0F4D3C2DB4ED}" presName="Child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9AD42E78-657F-46AB-BED1-E9B3CE783797}" type="pres">
      <dgm:prSet presAssocID="{31599D91-1052-4A01-8D57-F6D501814363}" presName="root" presStyleCnt="0">
        <dgm:presLayoutVars>
          <dgm:chMax/>
          <dgm:chPref/>
        </dgm:presLayoutVars>
      </dgm:prSet>
      <dgm:spPr/>
    </dgm:pt>
    <dgm:pt modelId="{500CAB49-9BF5-4CAB-8B58-870C1ADED6DB}" type="pres">
      <dgm:prSet presAssocID="{31599D91-1052-4A01-8D57-F6D501814363}" presName="rootComposite" presStyleCnt="0">
        <dgm:presLayoutVars/>
      </dgm:prSet>
      <dgm:spPr/>
    </dgm:pt>
    <dgm:pt modelId="{442950C0-4B22-413A-9020-89A859E65BF6}" type="pres">
      <dgm:prSet presAssocID="{31599D91-1052-4A01-8D57-F6D501814363}" presName="ParentAccent" presStyleLbl="alignNode1" presStyleIdx="1" presStyleCnt="2"/>
      <dgm:spPr>
        <a:solidFill>
          <a:srgbClr val="FF0000"/>
        </a:solidFill>
      </dgm:spPr>
    </dgm:pt>
    <dgm:pt modelId="{453D6FB7-7296-4BB8-A3A3-0A5CF4F65B6E}" type="pres">
      <dgm:prSet presAssocID="{31599D91-1052-4A01-8D57-F6D501814363}" presName="ParentSmallAccent" presStyleLbl="fgAcc1" presStyleIdx="1" presStyleCnt="2"/>
      <dgm:spPr/>
    </dgm:pt>
    <dgm:pt modelId="{6AF88F20-7B0A-42EF-8F76-3EA1D57FC499}" type="pres">
      <dgm:prSet presAssocID="{31599D91-1052-4A01-8D57-F6D501814363}" presName="Parent" presStyleLbl="revTx" presStyleIdx="4" presStyleCnt="8">
        <dgm:presLayoutVars>
          <dgm:chMax/>
          <dgm:chPref val="4"/>
          <dgm:bulletEnabled val="1"/>
        </dgm:presLayoutVars>
      </dgm:prSet>
      <dgm:spPr/>
    </dgm:pt>
    <dgm:pt modelId="{E2827DFA-6AB6-4C94-8144-52B7E41BF959}" type="pres">
      <dgm:prSet presAssocID="{31599D91-1052-4A01-8D57-F6D501814363}" presName="childShape" presStyleCnt="0">
        <dgm:presLayoutVars>
          <dgm:chMax val="0"/>
          <dgm:chPref val="0"/>
        </dgm:presLayoutVars>
      </dgm:prSet>
      <dgm:spPr/>
    </dgm:pt>
    <dgm:pt modelId="{65E9D66F-04A5-472B-9FD6-7F70D1517302}" type="pres">
      <dgm:prSet presAssocID="{FCE4739F-E7FF-481F-AC1D-60C612D40ED9}" presName="childComposite" presStyleCnt="0">
        <dgm:presLayoutVars>
          <dgm:chMax val="0"/>
          <dgm:chPref val="0"/>
        </dgm:presLayoutVars>
      </dgm:prSet>
      <dgm:spPr/>
    </dgm:pt>
    <dgm:pt modelId="{10F3EE63-AA3D-43A4-B80D-3F2F4F2FCDB2}" type="pres">
      <dgm:prSet presAssocID="{FCE4739F-E7FF-481F-AC1D-60C612D40ED9}" presName="ChildAccent" presStyleLbl="solidFgAcc1" presStyleIdx="3" presStyleCnt="6"/>
      <dgm:spPr/>
    </dgm:pt>
    <dgm:pt modelId="{1ADC8A65-244C-4E19-A2D4-13B0A6C6D1C5}" type="pres">
      <dgm:prSet presAssocID="{FCE4739F-E7FF-481F-AC1D-60C612D40ED9}" presName="Child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ED1339EC-62A0-438C-AA08-3BD4BFA5F653}" type="pres">
      <dgm:prSet presAssocID="{1CA9514B-FBED-4A47-8B3B-F7A5B2FD4D83}" presName="childComposite" presStyleCnt="0">
        <dgm:presLayoutVars>
          <dgm:chMax val="0"/>
          <dgm:chPref val="0"/>
        </dgm:presLayoutVars>
      </dgm:prSet>
      <dgm:spPr/>
    </dgm:pt>
    <dgm:pt modelId="{0D814303-CA77-429C-A998-C927DD0E134B}" type="pres">
      <dgm:prSet presAssocID="{1CA9514B-FBED-4A47-8B3B-F7A5B2FD4D83}" presName="ChildAccent" presStyleLbl="solidFgAcc1" presStyleIdx="4" presStyleCnt="6"/>
      <dgm:spPr/>
    </dgm:pt>
    <dgm:pt modelId="{B54DE663-25E7-4B45-8B8D-CA290895E7C2}" type="pres">
      <dgm:prSet presAssocID="{1CA9514B-FBED-4A47-8B3B-F7A5B2FD4D83}" presName="Child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FB6F6D7F-8600-45E8-BA25-15FB4F68192B}" type="pres">
      <dgm:prSet presAssocID="{B7E62698-AE07-48BB-8F18-C45EAB521E9A}" presName="childComposite" presStyleCnt="0">
        <dgm:presLayoutVars>
          <dgm:chMax val="0"/>
          <dgm:chPref val="0"/>
        </dgm:presLayoutVars>
      </dgm:prSet>
      <dgm:spPr/>
    </dgm:pt>
    <dgm:pt modelId="{AB309988-AFCE-457B-B559-B66DC7DE333C}" type="pres">
      <dgm:prSet presAssocID="{B7E62698-AE07-48BB-8F18-C45EAB521E9A}" presName="ChildAccent" presStyleLbl="solidFgAcc1" presStyleIdx="5" presStyleCnt="6"/>
      <dgm:spPr/>
    </dgm:pt>
    <dgm:pt modelId="{9EF1CC87-EF56-40AE-8B16-BB3894269DEB}" type="pres">
      <dgm:prSet presAssocID="{B7E62698-AE07-48BB-8F18-C45EAB521E9A}" presName="Child" presStyleLbl="revTx" presStyleIdx="7" presStyleCnt="8">
        <dgm:presLayoutVars>
          <dgm:chMax val="0"/>
          <dgm:chPref val="0"/>
          <dgm:bulletEnabled val="1"/>
        </dgm:presLayoutVars>
      </dgm:prSet>
      <dgm:spPr/>
    </dgm:pt>
  </dgm:ptLst>
  <dgm:cxnLst>
    <dgm:cxn modelId="{857EB011-3B0B-41D5-A220-9F57EE2C755F}" type="presOf" srcId="{31599D91-1052-4A01-8D57-F6D501814363}" destId="{6AF88F20-7B0A-42EF-8F76-3EA1D57FC499}" srcOrd="0" destOrd="0" presId="urn:microsoft.com/office/officeart/2008/layout/SquareAccentList"/>
    <dgm:cxn modelId="{47038B28-CC35-4DC0-99FF-A151A5A9A56C}" srcId="{756A4452-B9C1-4BD8-86A4-FF5AE6D402E7}" destId="{1933BC3C-3374-4783-A23C-7B791EE67ED7}" srcOrd="0" destOrd="0" parTransId="{7C4DDA24-6BA7-4ADF-A864-FEFC916D4A04}" sibTransId="{5A6412BB-36BA-40C5-897E-5EEA49006452}"/>
    <dgm:cxn modelId="{27E05F2A-468D-4AA9-AD75-76CD77F76002}" type="presOf" srcId="{FCE4739F-E7FF-481F-AC1D-60C612D40ED9}" destId="{1ADC8A65-244C-4E19-A2D4-13B0A6C6D1C5}" srcOrd="0" destOrd="0" presId="urn:microsoft.com/office/officeart/2008/layout/SquareAccentList"/>
    <dgm:cxn modelId="{796BEB2A-2EF2-4227-BAD5-546D080F1625}" srcId="{278F7715-BDAF-4B43-87DF-7829718B7110}" destId="{756A4452-B9C1-4BD8-86A4-FF5AE6D402E7}" srcOrd="0" destOrd="0" parTransId="{9F2D6AE8-247C-4A5E-996E-9D32827D1900}" sibTransId="{A1382843-D288-4CBE-83D5-C288D393ECD8}"/>
    <dgm:cxn modelId="{F82FFB34-A4FB-4493-9E4D-A4BB330D687B}" type="presOf" srcId="{1CA9514B-FBED-4A47-8B3B-F7A5B2FD4D83}" destId="{B54DE663-25E7-4B45-8B8D-CA290895E7C2}" srcOrd="0" destOrd="0" presId="urn:microsoft.com/office/officeart/2008/layout/SquareAccentList"/>
    <dgm:cxn modelId="{65368C37-FAB7-49EE-974E-3E2E73B83356}" type="presOf" srcId="{756A4452-B9C1-4BD8-86A4-FF5AE6D402E7}" destId="{089780F8-AF6C-4E1D-AA81-6FEFB1835D5B}" srcOrd="0" destOrd="0" presId="urn:microsoft.com/office/officeart/2008/layout/SquareAccentList"/>
    <dgm:cxn modelId="{A252445B-81D0-4DA8-9EC8-FAAEDCC482FC}" type="presOf" srcId="{B05A6846-80CA-40E1-B5D9-3AFF1AFB5546}" destId="{B62B32EC-2E01-4955-B6EF-88244FE66D3A}" srcOrd="0" destOrd="0" presId="urn:microsoft.com/office/officeart/2008/layout/SquareAccentList"/>
    <dgm:cxn modelId="{448FAD66-6144-424B-BDE4-BE75BEC00F1B}" type="presOf" srcId="{278F7715-BDAF-4B43-87DF-7829718B7110}" destId="{CEA01C31-4656-4488-ADD7-B1F13696923E}" srcOrd="0" destOrd="0" presId="urn:microsoft.com/office/officeart/2008/layout/SquareAccentList"/>
    <dgm:cxn modelId="{257A5567-F7FE-4E53-90AF-3A16247573CA}" srcId="{31599D91-1052-4A01-8D57-F6D501814363}" destId="{B7E62698-AE07-48BB-8F18-C45EAB521E9A}" srcOrd="2" destOrd="0" parTransId="{00DD0D48-9887-41D8-A3C1-CA9FB5685BB4}" sibTransId="{CD168841-DFDC-4D67-87EB-BEDB790504F2}"/>
    <dgm:cxn modelId="{53271173-B949-4A35-ABF0-29FB70390268}" srcId="{278F7715-BDAF-4B43-87DF-7829718B7110}" destId="{31599D91-1052-4A01-8D57-F6D501814363}" srcOrd="1" destOrd="0" parTransId="{8A090071-32A4-4440-88D5-25BC21DD577C}" sibTransId="{4F70F39E-D888-4AC5-B62D-A8A759C6BEBE}"/>
    <dgm:cxn modelId="{00262177-29BC-4115-A38D-9F3A03CC759B}" srcId="{756A4452-B9C1-4BD8-86A4-FF5AE6D402E7}" destId="{B05A6846-80CA-40E1-B5D9-3AFF1AFB5546}" srcOrd="1" destOrd="0" parTransId="{0E42B853-D692-4A6A-8B3F-76A8B5A73FC6}" sibTransId="{ECB4157B-F03C-4452-9CC6-84C0A46C619D}"/>
    <dgm:cxn modelId="{E313C37E-80BE-4274-9F53-844382669DBF}" srcId="{31599D91-1052-4A01-8D57-F6D501814363}" destId="{FCE4739F-E7FF-481F-AC1D-60C612D40ED9}" srcOrd="0" destOrd="0" parTransId="{31442727-3D17-4ACE-A28C-C5EFFDD08344}" sibTransId="{6CF3FF63-177E-43AF-8988-E3C5A3622F3A}"/>
    <dgm:cxn modelId="{ABD97D8D-25B9-4DB7-99A9-B6021AFC90FC}" type="presOf" srcId="{1933BC3C-3374-4783-A23C-7B791EE67ED7}" destId="{8A3AE69F-595D-4BCD-B6F2-15C52D05B8EA}" srcOrd="0" destOrd="0" presId="urn:microsoft.com/office/officeart/2008/layout/SquareAccentList"/>
    <dgm:cxn modelId="{7CC65397-6F45-4CEF-A8A2-46D4245F7CED}" srcId="{756A4452-B9C1-4BD8-86A4-FF5AE6D402E7}" destId="{F4A1FDAC-D0A1-4B0A-A574-0F4D3C2DB4ED}" srcOrd="2" destOrd="0" parTransId="{AD2655C5-8AE8-4416-98C0-86C8901AEEEF}" sibTransId="{A1818A3E-8A52-4FDE-90C1-D20F5B51C47A}"/>
    <dgm:cxn modelId="{E85617B2-5AB9-4188-AA25-746B0715FE34}" type="presOf" srcId="{B7E62698-AE07-48BB-8F18-C45EAB521E9A}" destId="{9EF1CC87-EF56-40AE-8B16-BB3894269DEB}" srcOrd="0" destOrd="0" presId="urn:microsoft.com/office/officeart/2008/layout/SquareAccentList"/>
    <dgm:cxn modelId="{B14506BC-403E-4CE1-8E6D-D7D3253C5CCB}" type="presOf" srcId="{F4A1FDAC-D0A1-4B0A-A574-0F4D3C2DB4ED}" destId="{E0AC5D6D-01D3-4B9B-879D-00C63335141B}" srcOrd="0" destOrd="0" presId="urn:microsoft.com/office/officeart/2008/layout/SquareAccentList"/>
    <dgm:cxn modelId="{700712BC-C041-44AF-AFE4-C18CB6038108}" srcId="{31599D91-1052-4A01-8D57-F6D501814363}" destId="{1CA9514B-FBED-4A47-8B3B-F7A5B2FD4D83}" srcOrd="1" destOrd="0" parTransId="{8974C49B-C37B-4432-ABAB-EABED4EDE520}" sibTransId="{7CCB0869-8403-44CE-8610-442412EBE4C6}"/>
    <dgm:cxn modelId="{A14DE8FC-BEFC-403B-8D7E-411DEB457F6F}" type="presParOf" srcId="{CEA01C31-4656-4488-ADD7-B1F13696923E}" destId="{5AF1AEBE-713E-422C-BCB2-38517A2279F0}" srcOrd="0" destOrd="0" presId="urn:microsoft.com/office/officeart/2008/layout/SquareAccentList"/>
    <dgm:cxn modelId="{428A205F-A466-4F14-A21F-D2595EFBBFA7}" type="presParOf" srcId="{5AF1AEBE-713E-422C-BCB2-38517A2279F0}" destId="{AC23AA6E-E751-46B1-B1F1-809513F6860E}" srcOrd="0" destOrd="0" presId="urn:microsoft.com/office/officeart/2008/layout/SquareAccentList"/>
    <dgm:cxn modelId="{AC1F3076-8CC4-4B40-B438-1196C33E2FDD}" type="presParOf" srcId="{AC23AA6E-E751-46B1-B1F1-809513F6860E}" destId="{C1F57F84-B2B8-41B4-B06E-076B772F881E}" srcOrd="0" destOrd="0" presId="urn:microsoft.com/office/officeart/2008/layout/SquareAccentList"/>
    <dgm:cxn modelId="{A1110429-3369-452B-80EF-CC87C0B177F9}" type="presParOf" srcId="{AC23AA6E-E751-46B1-B1F1-809513F6860E}" destId="{7C5A7BB7-277D-47DA-9C9A-44BB81032E38}" srcOrd="1" destOrd="0" presId="urn:microsoft.com/office/officeart/2008/layout/SquareAccentList"/>
    <dgm:cxn modelId="{C885FC76-DA82-4791-B52A-A4B75A54C1EE}" type="presParOf" srcId="{AC23AA6E-E751-46B1-B1F1-809513F6860E}" destId="{089780F8-AF6C-4E1D-AA81-6FEFB1835D5B}" srcOrd="2" destOrd="0" presId="urn:microsoft.com/office/officeart/2008/layout/SquareAccentList"/>
    <dgm:cxn modelId="{7F13212E-7F5B-4575-8549-9DABC2B2D06A}" type="presParOf" srcId="{5AF1AEBE-713E-422C-BCB2-38517A2279F0}" destId="{B21D7BEF-F32E-42F6-811E-306277DD5D24}" srcOrd="1" destOrd="0" presId="urn:microsoft.com/office/officeart/2008/layout/SquareAccentList"/>
    <dgm:cxn modelId="{6C522820-440B-402C-BFF1-00FFBBBD0576}" type="presParOf" srcId="{B21D7BEF-F32E-42F6-811E-306277DD5D24}" destId="{E01B51F1-8605-41F9-9F2D-E416BFEBF7D1}" srcOrd="0" destOrd="0" presId="urn:microsoft.com/office/officeart/2008/layout/SquareAccentList"/>
    <dgm:cxn modelId="{CDDA8A9F-4D5D-48BF-BBB1-3D22DC148449}" type="presParOf" srcId="{E01B51F1-8605-41F9-9F2D-E416BFEBF7D1}" destId="{D3A1307F-9193-4FF8-AABC-CD18E1C5C684}" srcOrd="0" destOrd="0" presId="urn:microsoft.com/office/officeart/2008/layout/SquareAccentList"/>
    <dgm:cxn modelId="{6C6331DD-0099-4ED1-B043-47A903C65E03}" type="presParOf" srcId="{E01B51F1-8605-41F9-9F2D-E416BFEBF7D1}" destId="{8A3AE69F-595D-4BCD-B6F2-15C52D05B8EA}" srcOrd="1" destOrd="0" presId="urn:microsoft.com/office/officeart/2008/layout/SquareAccentList"/>
    <dgm:cxn modelId="{1AC578F4-60F3-4F63-9AF5-0A1D99A1ED70}" type="presParOf" srcId="{B21D7BEF-F32E-42F6-811E-306277DD5D24}" destId="{192EB069-130A-478D-B920-DBC46C4EF5FB}" srcOrd="1" destOrd="0" presId="urn:microsoft.com/office/officeart/2008/layout/SquareAccentList"/>
    <dgm:cxn modelId="{C7E83F6D-08CD-41D8-9E8D-7E9512794AE6}" type="presParOf" srcId="{192EB069-130A-478D-B920-DBC46C4EF5FB}" destId="{6F752E51-F7AF-468E-8CA3-F97D2A71E5F5}" srcOrd="0" destOrd="0" presId="urn:microsoft.com/office/officeart/2008/layout/SquareAccentList"/>
    <dgm:cxn modelId="{6C889DD3-E349-42F7-AF67-CC37A36C9741}" type="presParOf" srcId="{192EB069-130A-478D-B920-DBC46C4EF5FB}" destId="{B62B32EC-2E01-4955-B6EF-88244FE66D3A}" srcOrd="1" destOrd="0" presId="urn:microsoft.com/office/officeart/2008/layout/SquareAccentList"/>
    <dgm:cxn modelId="{65A16045-D7EA-41CB-B0A3-3ECD7D9C3126}" type="presParOf" srcId="{B21D7BEF-F32E-42F6-811E-306277DD5D24}" destId="{B052F3A1-6148-4B0D-A7F8-C83FB44C555B}" srcOrd="2" destOrd="0" presId="urn:microsoft.com/office/officeart/2008/layout/SquareAccentList"/>
    <dgm:cxn modelId="{2195C597-C36D-4E38-BDAB-40CCE689C3F7}" type="presParOf" srcId="{B052F3A1-6148-4B0D-A7F8-C83FB44C555B}" destId="{3CF2E9EA-7DB7-414B-A3B6-E15081AFA868}" srcOrd="0" destOrd="0" presId="urn:microsoft.com/office/officeart/2008/layout/SquareAccentList"/>
    <dgm:cxn modelId="{AE7B7751-432E-4D93-BAAC-F50E4F62B3B0}" type="presParOf" srcId="{B052F3A1-6148-4B0D-A7F8-C83FB44C555B}" destId="{E0AC5D6D-01D3-4B9B-879D-00C63335141B}" srcOrd="1" destOrd="0" presId="urn:microsoft.com/office/officeart/2008/layout/SquareAccentList"/>
    <dgm:cxn modelId="{4D69D836-4EFF-4A22-AA59-D687BC9231A2}" type="presParOf" srcId="{CEA01C31-4656-4488-ADD7-B1F13696923E}" destId="{9AD42E78-657F-46AB-BED1-E9B3CE783797}" srcOrd="1" destOrd="0" presId="urn:microsoft.com/office/officeart/2008/layout/SquareAccentList"/>
    <dgm:cxn modelId="{7113094B-DDA2-4AB3-9CEB-47FE6C8231B9}" type="presParOf" srcId="{9AD42E78-657F-46AB-BED1-E9B3CE783797}" destId="{500CAB49-9BF5-4CAB-8B58-870C1ADED6DB}" srcOrd="0" destOrd="0" presId="urn:microsoft.com/office/officeart/2008/layout/SquareAccentList"/>
    <dgm:cxn modelId="{625439EB-A8F9-4D60-8E86-F9773D3335CB}" type="presParOf" srcId="{500CAB49-9BF5-4CAB-8B58-870C1ADED6DB}" destId="{442950C0-4B22-413A-9020-89A859E65BF6}" srcOrd="0" destOrd="0" presId="urn:microsoft.com/office/officeart/2008/layout/SquareAccentList"/>
    <dgm:cxn modelId="{D838C60B-6267-4649-982D-5CFF4328C7D9}" type="presParOf" srcId="{500CAB49-9BF5-4CAB-8B58-870C1ADED6DB}" destId="{453D6FB7-7296-4BB8-A3A3-0A5CF4F65B6E}" srcOrd="1" destOrd="0" presId="urn:microsoft.com/office/officeart/2008/layout/SquareAccentList"/>
    <dgm:cxn modelId="{E73526E2-67B8-46E2-904C-8A3498547A34}" type="presParOf" srcId="{500CAB49-9BF5-4CAB-8B58-870C1ADED6DB}" destId="{6AF88F20-7B0A-42EF-8F76-3EA1D57FC499}" srcOrd="2" destOrd="0" presId="urn:microsoft.com/office/officeart/2008/layout/SquareAccentList"/>
    <dgm:cxn modelId="{2385CDF0-A081-4836-8BCE-C9959D27DD08}" type="presParOf" srcId="{9AD42E78-657F-46AB-BED1-E9B3CE783797}" destId="{E2827DFA-6AB6-4C94-8144-52B7E41BF959}" srcOrd="1" destOrd="0" presId="urn:microsoft.com/office/officeart/2008/layout/SquareAccentList"/>
    <dgm:cxn modelId="{E5A23E3C-24CC-4439-8430-9DC358F83B24}" type="presParOf" srcId="{E2827DFA-6AB6-4C94-8144-52B7E41BF959}" destId="{65E9D66F-04A5-472B-9FD6-7F70D1517302}" srcOrd="0" destOrd="0" presId="urn:microsoft.com/office/officeart/2008/layout/SquareAccentList"/>
    <dgm:cxn modelId="{C937ED59-2890-49C7-93A6-BD7B02F412B4}" type="presParOf" srcId="{65E9D66F-04A5-472B-9FD6-7F70D1517302}" destId="{10F3EE63-AA3D-43A4-B80D-3F2F4F2FCDB2}" srcOrd="0" destOrd="0" presId="urn:microsoft.com/office/officeart/2008/layout/SquareAccentList"/>
    <dgm:cxn modelId="{A796E75E-C0B7-4D3B-8BAB-0B3FF9F01696}" type="presParOf" srcId="{65E9D66F-04A5-472B-9FD6-7F70D1517302}" destId="{1ADC8A65-244C-4E19-A2D4-13B0A6C6D1C5}" srcOrd="1" destOrd="0" presId="urn:microsoft.com/office/officeart/2008/layout/SquareAccentList"/>
    <dgm:cxn modelId="{EB42FA50-710B-40BE-896C-781BB9C316D4}" type="presParOf" srcId="{E2827DFA-6AB6-4C94-8144-52B7E41BF959}" destId="{ED1339EC-62A0-438C-AA08-3BD4BFA5F653}" srcOrd="1" destOrd="0" presId="urn:microsoft.com/office/officeart/2008/layout/SquareAccentList"/>
    <dgm:cxn modelId="{8BE3D860-2475-43E1-A87A-AE0CBD6D1C03}" type="presParOf" srcId="{ED1339EC-62A0-438C-AA08-3BD4BFA5F653}" destId="{0D814303-CA77-429C-A998-C927DD0E134B}" srcOrd="0" destOrd="0" presId="urn:microsoft.com/office/officeart/2008/layout/SquareAccentList"/>
    <dgm:cxn modelId="{EB79BDC3-6E6D-457A-AA55-3CB31C47C717}" type="presParOf" srcId="{ED1339EC-62A0-438C-AA08-3BD4BFA5F653}" destId="{B54DE663-25E7-4B45-8B8D-CA290895E7C2}" srcOrd="1" destOrd="0" presId="urn:microsoft.com/office/officeart/2008/layout/SquareAccentList"/>
    <dgm:cxn modelId="{F6AFA855-59EE-4B18-A695-5E6B8FC9C30B}" type="presParOf" srcId="{E2827DFA-6AB6-4C94-8144-52B7E41BF959}" destId="{FB6F6D7F-8600-45E8-BA25-15FB4F68192B}" srcOrd="2" destOrd="0" presId="urn:microsoft.com/office/officeart/2008/layout/SquareAccentList"/>
    <dgm:cxn modelId="{D67053BE-F4F1-4307-A480-21BA19FFF2D4}" type="presParOf" srcId="{FB6F6D7F-8600-45E8-BA25-15FB4F68192B}" destId="{AB309988-AFCE-457B-B559-B66DC7DE333C}" srcOrd="0" destOrd="0" presId="urn:microsoft.com/office/officeart/2008/layout/SquareAccentList"/>
    <dgm:cxn modelId="{0C61F0E0-53B0-4E86-A2A0-3117677F5B18}" type="presParOf" srcId="{FB6F6D7F-8600-45E8-BA25-15FB4F68192B}" destId="{9EF1CC87-EF56-40AE-8B16-BB3894269DEB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77524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Datensatzart</a:t>
          </a:r>
        </a:p>
      </dsp:txBody>
      <dsp:txXfrm>
        <a:off x="23988" y="101512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01478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01478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08596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Biasumgang</a:t>
          </a:r>
          <a:endParaRPr lang="de-DE" sz="2000" kern="1200" dirty="0"/>
        </a:p>
      </dsp:txBody>
      <dsp:txXfrm>
        <a:off x="23988" y="1109956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568980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568980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575954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Methoden</a:t>
          </a:r>
        </a:p>
      </dsp:txBody>
      <dsp:txXfrm>
        <a:off x="23988" y="2599942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49346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49346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38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Forschungsfrage</a:t>
          </a:r>
        </a:p>
      </dsp:txBody>
      <dsp:txXfrm>
        <a:off x="23988" y="3862210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45486"/>
          <a:ext cx="10896609" cy="361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Datensätzen durch Verzerrungsübertragung auf ein </a:t>
          </a:r>
          <a:r>
            <a:rPr kumimoji="0" lang="de-DE" sz="1600" b="0" i="0" u="none" strike="noStrike" kern="1200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kern="1200" dirty="0"/>
        </a:p>
      </dsp:txBody>
      <dsp:txXfrm>
        <a:off x="0" y="4345486"/>
        <a:ext cx="10896609" cy="3616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57F84-B2B8-41B4-B06E-076B772F881E}">
      <dsp:nvSpPr>
        <dsp:cNvPr id="0" name=""/>
        <dsp:cNvSpPr/>
      </dsp:nvSpPr>
      <dsp:spPr>
        <a:xfrm>
          <a:off x="601221" y="875909"/>
          <a:ext cx="4144482" cy="487586"/>
        </a:xfrm>
        <a:prstGeom prst="rect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5A7BB7-277D-47DA-9C9A-44BB81032E38}">
      <dsp:nvSpPr>
        <dsp:cNvPr id="0" name=""/>
        <dsp:cNvSpPr/>
      </dsp:nvSpPr>
      <dsp:spPr>
        <a:xfrm>
          <a:off x="601221" y="1059027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9780F8-AF6C-4E1D-AA81-6FEFB1835D5B}">
      <dsp:nvSpPr>
        <dsp:cNvPr id="0" name=""/>
        <dsp:cNvSpPr/>
      </dsp:nvSpPr>
      <dsp:spPr>
        <a:xfrm>
          <a:off x="601221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+</a:t>
          </a:r>
        </a:p>
      </dsp:txBody>
      <dsp:txXfrm>
        <a:off x="601221" y="0"/>
        <a:ext cx="4144482" cy="875909"/>
      </dsp:txXfrm>
    </dsp:sp>
    <dsp:sp modelId="{D3A1307F-9193-4FF8-AABC-CD18E1C5C684}">
      <dsp:nvSpPr>
        <dsp:cNvPr id="0" name=""/>
        <dsp:cNvSpPr/>
      </dsp:nvSpPr>
      <dsp:spPr>
        <a:xfrm>
          <a:off x="601221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3AE69F-595D-4BCD-B6F2-15C52D05B8EA}">
      <dsp:nvSpPr>
        <dsp:cNvPr id="0" name=""/>
        <dsp:cNvSpPr/>
      </dsp:nvSpPr>
      <dsp:spPr>
        <a:xfrm>
          <a:off x="891335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akkurat</a:t>
          </a:r>
        </a:p>
      </dsp:txBody>
      <dsp:txXfrm>
        <a:off x="891335" y="1566115"/>
        <a:ext cx="3854368" cy="709699"/>
      </dsp:txXfrm>
    </dsp:sp>
    <dsp:sp modelId="{6F752E51-F7AF-468E-8CA3-F97D2A71E5F5}">
      <dsp:nvSpPr>
        <dsp:cNvPr id="0" name=""/>
        <dsp:cNvSpPr/>
      </dsp:nvSpPr>
      <dsp:spPr>
        <a:xfrm>
          <a:off x="601221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2B32EC-2E01-4955-B6EF-88244FE66D3A}">
      <dsp:nvSpPr>
        <dsp:cNvPr id="0" name=""/>
        <dsp:cNvSpPr/>
      </dsp:nvSpPr>
      <dsp:spPr>
        <a:xfrm>
          <a:off x="891335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ontextunabhängigkeit</a:t>
          </a:r>
        </a:p>
      </dsp:txBody>
      <dsp:txXfrm>
        <a:off x="891335" y="2275815"/>
        <a:ext cx="3854368" cy="709699"/>
      </dsp:txXfrm>
    </dsp:sp>
    <dsp:sp modelId="{3CF2E9EA-7DB7-414B-A3B6-E15081AFA868}">
      <dsp:nvSpPr>
        <dsp:cNvPr id="0" name=""/>
        <dsp:cNvSpPr/>
      </dsp:nvSpPr>
      <dsp:spPr>
        <a:xfrm>
          <a:off x="601221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C5D6D-01D3-4B9B-879D-00C63335141B}">
      <dsp:nvSpPr>
        <dsp:cNvPr id="0" name=""/>
        <dsp:cNvSpPr/>
      </dsp:nvSpPr>
      <dsp:spPr>
        <a:xfrm>
          <a:off x="891335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ias-Analyse des ML Modells</a:t>
          </a:r>
        </a:p>
      </dsp:txBody>
      <dsp:txXfrm>
        <a:off x="891335" y="2985514"/>
        <a:ext cx="3854368" cy="709699"/>
      </dsp:txXfrm>
    </dsp:sp>
    <dsp:sp modelId="{442950C0-4B22-413A-9020-89A859E65BF6}">
      <dsp:nvSpPr>
        <dsp:cNvPr id="0" name=""/>
        <dsp:cNvSpPr/>
      </dsp:nvSpPr>
      <dsp:spPr>
        <a:xfrm>
          <a:off x="4952928" y="875909"/>
          <a:ext cx="4144482" cy="487586"/>
        </a:xfrm>
        <a:prstGeom prst="rect">
          <a:avLst/>
        </a:prstGeom>
        <a:solidFill>
          <a:srgbClr val="FF0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3D6FB7-7296-4BB8-A3A3-0A5CF4F65B6E}">
      <dsp:nvSpPr>
        <dsp:cNvPr id="0" name=""/>
        <dsp:cNvSpPr/>
      </dsp:nvSpPr>
      <dsp:spPr>
        <a:xfrm>
          <a:off x="4952928" y="1059027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F88F20-7B0A-42EF-8F76-3EA1D57FC499}">
      <dsp:nvSpPr>
        <dsp:cNvPr id="0" name=""/>
        <dsp:cNvSpPr/>
      </dsp:nvSpPr>
      <dsp:spPr>
        <a:xfrm>
          <a:off x="4952928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-</a:t>
          </a:r>
        </a:p>
      </dsp:txBody>
      <dsp:txXfrm>
        <a:off x="4952928" y="0"/>
        <a:ext cx="4144482" cy="875909"/>
      </dsp:txXfrm>
    </dsp:sp>
    <dsp:sp modelId="{10F3EE63-AA3D-43A4-B80D-3F2F4F2FCDB2}">
      <dsp:nvSpPr>
        <dsp:cNvPr id="0" name=""/>
        <dsp:cNvSpPr/>
      </dsp:nvSpPr>
      <dsp:spPr>
        <a:xfrm>
          <a:off x="4952928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DC8A65-244C-4E19-A2D4-13B0A6C6D1C5}">
      <dsp:nvSpPr>
        <dsp:cNvPr id="0" name=""/>
        <dsp:cNvSpPr/>
      </dsp:nvSpPr>
      <dsp:spPr>
        <a:xfrm>
          <a:off x="5243041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schlechte Laufzeit</a:t>
          </a:r>
        </a:p>
      </dsp:txBody>
      <dsp:txXfrm>
        <a:off x="5243041" y="1566115"/>
        <a:ext cx="3854368" cy="709699"/>
      </dsp:txXfrm>
    </dsp:sp>
    <dsp:sp modelId="{0D814303-CA77-429C-A998-C927DD0E134B}">
      <dsp:nvSpPr>
        <dsp:cNvPr id="0" name=""/>
        <dsp:cNvSpPr/>
      </dsp:nvSpPr>
      <dsp:spPr>
        <a:xfrm>
          <a:off x="4952928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4DE663-25E7-4B45-8B8D-CA290895E7C2}">
      <dsp:nvSpPr>
        <dsp:cNvPr id="0" name=""/>
        <dsp:cNvSpPr/>
      </dsp:nvSpPr>
      <dsp:spPr>
        <a:xfrm>
          <a:off x="5243041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Gigantischer Speicherbedarf</a:t>
          </a:r>
        </a:p>
      </dsp:txBody>
      <dsp:txXfrm>
        <a:off x="5243041" y="2275815"/>
        <a:ext cx="3854368" cy="709699"/>
      </dsp:txXfrm>
    </dsp:sp>
    <dsp:sp modelId="{AB309988-AFCE-457B-B559-B66DC7DE333C}">
      <dsp:nvSpPr>
        <dsp:cNvPr id="0" name=""/>
        <dsp:cNvSpPr/>
      </dsp:nvSpPr>
      <dsp:spPr>
        <a:xfrm>
          <a:off x="4952928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F1CC87-EF56-40AE-8B16-BB3894269DEB}">
      <dsp:nvSpPr>
        <dsp:cNvPr id="0" name=""/>
        <dsp:cNvSpPr/>
      </dsp:nvSpPr>
      <dsp:spPr>
        <a:xfrm>
          <a:off x="5243041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eine Aussage über Input</a:t>
          </a:r>
        </a:p>
      </dsp:txBody>
      <dsp:txXfrm>
        <a:off x="5243041" y="2985514"/>
        <a:ext cx="3854368" cy="7096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5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5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: B = 2 bedeutet, im Durchschnitt müssen Personen aus der bevorzugtesten Gruppe 2 Einheiten Arbeit weniger leisten, als Personen aus der </a:t>
            </a:r>
            <a:r>
              <a:rPr lang="de-DE" dirty="0" err="1"/>
              <a:t>benachteiligtesten</a:t>
            </a:r>
            <a:r>
              <a:rPr lang="de-DE" dirty="0"/>
              <a:t> Grupp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104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EA =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ventscheidungsanteile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de-DE" sz="1200" dirty="0"/>
              <a:t>Anteilsunterschied = 0: Kein Bias</a:t>
            </a:r>
            <a:br>
              <a:rPr lang="de-DE" sz="1200" dirty="0"/>
            </a:br>
            <a:r>
              <a:rPr lang="de-DE" sz="1200" dirty="0"/>
              <a:t>Anteilsunterschied = 1: Höchster Bias überhaup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415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-10, da ab 10 das Artefakt schon wieder zu lange braucht</a:t>
            </a:r>
          </a:p>
          <a:p>
            <a:endParaRPr lang="de-DE" dirty="0"/>
          </a:p>
          <a:p>
            <a:r>
              <a:rPr lang="de-DE" dirty="0"/>
              <a:t>Entscheidungsbaum wurde mit dem ganzen Datensatz train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107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B = Petaby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9084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5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5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</a:t>
            </a:r>
            <a:r>
              <a:rPr lang="de-DE" dirty="0" err="1"/>
              <a:t>Biases</a:t>
            </a:r>
            <a:r>
              <a:rPr lang="de-DE" dirty="0"/>
              <a:t> wie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sz="2400" dirty="0">
                <a:solidFill>
                  <a:prstClr val="black"/>
                </a:solidFill>
                <a:latin typeface="Arial"/>
              </a:rPr>
              <a:t>Anforderungsabstand stellt den Bias mit einem praktischen Wert dar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>
                <a:solidFill>
                  <a:prstClr val="black"/>
                </a:solidFill>
                <a:latin typeface="Arial"/>
              </a:rPr>
              <a:t>Anforderungsabstand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Niedrige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2028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 -&gt; Funktioniert erst dann gut, wenn die Mindestanforderung durch eine eindeutige Funktion berechnet wird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4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trum von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verzerrungslos bis sehr stark verzerr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Kein Bias, leichter Bias, mittelstarker Bias, sehr starker Bia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4467124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mit Verzerrung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ohne Verzerrungen</a:t>
            </a:r>
          </a:p>
        </p:txBody>
      </p:sp>
    </p:spTree>
    <p:extLst>
      <p:ext uri="{BB962C8B-B14F-4D97-AF65-F5344CB8AC3E}">
        <p14:creationId xmlns:p14="http://schemas.microsoft.com/office/powerpoint/2010/main" val="1044836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elbsterstellten Datensätze haben 5 Attribute und 84 Einträ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/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5 </a:t>
                </a: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ribute, 2 kategorisch, 2 numerisch, 1 Entscheidungsattribu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84 Dateneinträge pro Datensatz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forderung berechnet durch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𝑉𝑒𝑟𝑘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𝑢𝑓𝑒</m:t>
                        </m:r>
                      </m:num>
                      <m:den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𝑜𝑛𝑎𝑡𝑒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𝑏𝑒𝑠𝑐h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𝑡𝑖𝑔𝑡</m:t>
                        </m:r>
                      </m:den>
                    </m:f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usprägungen und Intervalle:</a:t>
                </a: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blipFill>
                <a:blip r:embed="rId2"/>
                <a:stretch>
                  <a:fillRect l="-2517" t="-2813" b="-56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62918418-0CA8-C966-8372-795976D6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509680"/>
              </p:ext>
            </p:extLst>
          </p:nvPr>
        </p:nvGraphicFramePr>
        <p:xfrm>
          <a:off x="5303191" y="2613784"/>
          <a:ext cx="6736360" cy="16304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7272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Ethni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Verkäuf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onate beschäftig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haltserhöhung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eiß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froamerikan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siat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25</a:t>
                      </a:r>
                      <a:endParaRPr lang="de-DE" sz="1100" b="0" i="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6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j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13981576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1292580" y="4105976"/>
            <a:ext cx="4235766" cy="1801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Gehaltserhöhung = {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,j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}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erkäufe = [9;25]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Monate beschäftigt = [3;36]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Geschlecht = {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}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Ethnie = {weiß, afroamerikanisch, asiatisch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113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feld 36">
            <a:extLst>
              <a:ext uri="{FF2B5EF4-FFF2-40B4-BE49-F238E27FC236}">
                <a16:creationId xmlns:a16="http://schemas.microsoft.com/office/drawing/2014/main" id="{268CF00C-CB9B-A595-3064-651EBD963296}"/>
              </a:ext>
            </a:extLst>
          </p:cNvPr>
          <p:cNvSpPr txBox="1"/>
          <p:nvPr/>
        </p:nvSpPr>
        <p:spPr>
          <a:xfrm>
            <a:off x="4552426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s Artefaktes kommen der Realität sehr nah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 Ergebniss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93764E-C9ED-F6C4-1319-5F10A693FC44}"/>
              </a:ext>
            </a:extLst>
          </p:cNvPr>
          <p:cNvSpPr/>
          <p:nvPr/>
        </p:nvSpPr>
        <p:spPr>
          <a:xfrm>
            <a:off x="515938" y="1627464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241D9C9-CE82-1F7A-B9E1-0F460B12B64B}"/>
              </a:ext>
            </a:extLst>
          </p:cNvPr>
          <p:cNvSpPr/>
          <p:nvPr/>
        </p:nvSpPr>
        <p:spPr>
          <a:xfrm>
            <a:off x="6358854" y="1627464"/>
            <a:ext cx="5698683" cy="2315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43CF0A-FD10-38B9-5428-F6CED3BFA7C9}"/>
              </a:ext>
            </a:extLst>
          </p:cNvPr>
          <p:cNvSpPr/>
          <p:nvPr/>
        </p:nvSpPr>
        <p:spPr>
          <a:xfrm>
            <a:off x="515937" y="4017863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09A39E-E716-067E-43FB-FA774C91E4E1}"/>
              </a:ext>
            </a:extLst>
          </p:cNvPr>
          <p:cNvSpPr/>
          <p:nvPr/>
        </p:nvSpPr>
        <p:spPr>
          <a:xfrm>
            <a:off x="6358853" y="4017863"/>
            <a:ext cx="5698684" cy="23154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1B0AB9-262F-3207-E307-05C565E1463A}"/>
              </a:ext>
            </a:extLst>
          </p:cNvPr>
          <p:cNvSpPr txBox="1"/>
          <p:nvPr/>
        </p:nvSpPr>
        <p:spPr>
          <a:xfrm>
            <a:off x="588054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in Bi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925324A-A9CA-5CB2-21BC-C48F25D9BDB3}"/>
              </a:ext>
            </a:extLst>
          </p:cNvPr>
          <p:cNvSpPr txBox="1"/>
          <p:nvPr/>
        </p:nvSpPr>
        <p:spPr>
          <a:xfrm>
            <a:off x="588054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telstarker 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492144-E454-7D56-696E-DEDD708A9D73}"/>
              </a:ext>
            </a:extLst>
          </p:cNvPr>
          <p:cNvSpPr txBox="1"/>
          <p:nvPr/>
        </p:nvSpPr>
        <p:spPr>
          <a:xfrm>
            <a:off x="6453357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hr starker Bi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F275C5-2DCB-66C6-361F-D2FADC519628}"/>
              </a:ext>
            </a:extLst>
          </p:cNvPr>
          <p:cNvSpPr txBox="1"/>
          <p:nvPr/>
        </p:nvSpPr>
        <p:spPr>
          <a:xfrm>
            <a:off x="6453357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chter Bia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EA17D2-C19E-81AB-35F8-B693A9D5401D}"/>
              </a:ext>
            </a:extLst>
          </p:cNvPr>
          <p:cNvSpPr txBox="1"/>
          <p:nvPr/>
        </p:nvSpPr>
        <p:spPr>
          <a:xfrm>
            <a:off x="654341" y="2012924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ositiventscheidungsanteile (PEA) gleichverteilt zwischen allen Gruppen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84E86CD-3A2A-0D49-C12C-E117DFE33599}"/>
              </a:ext>
            </a:extLst>
          </p:cNvPr>
          <p:cNvCxnSpPr>
            <a:cxnSpLocks/>
          </p:cNvCxnSpPr>
          <p:nvPr/>
        </p:nvCxnSpPr>
        <p:spPr>
          <a:xfrm flipH="1">
            <a:off x="588054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4B8A25-25AC-692A-BC85-A443B16B59DC}"/>
              </a:ext>
            </a:extLst>
          </p:cNvPr>
          <p:cNvSpPr txBox="1"/>
          <p:nvPr/>
        </p:nvSpPr>
        <p:spPr>
          <a:xfrm>
            <a:off x="654341" y="2718852"/>
            <a:ext cx="5301842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s gleichverteilt zwischen allen Grupp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91A79D3-C28D-A874-8701-DD6B05454491}"/>
              </a:ext>
            </a:extLst>
          </p:cNvPr>
          <p:cNvCxnSpPr>
            <a:cxnSpLocks/>
          </p:cNvCxnSpPr>
          <p:nvPr/>
        </p:nvCxnSpPr>
        <p:spPr>
          <a:xfrm flipH="1">
            <a:off x="6464019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9AD26FA-1D07-73A0-93C0-DD0C0F072B86}"/>
              </a:ext>
            </a:extLst>
          </p:cNvPr>
          <p:cNvCxnSpPr>
            <a:cxnSpLocks/>
          </p:cNvCxnSpPr>
          <p:nvPr/>
        </p:nvCxnSpPr>
        <p:spPr>
          <a:xfrm flipH="1">
            <a:off x="6453357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1720836-E67B-2F0F-625C-FE83AB4B4B6B}"/>
              </a:ext>
            </a:extLst>
          </p:cNvPr>
          <p:cNvCxnSpPr>
            <a:cxnSpLocks/>
          </p:cNvCxnSpPr>
          <p:nvPr/>
        </p:nvCxnSpPr>
        <p:spPr>
          <a:xfrm flipH="1">
            <a:off x="611305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A22916D-91D2-2D1D-E740-06BE7FB34300}"/>
              </a:ext>
            </a:extLst>
          </p:cNvPr>
          <p:cNvSpPr txBox="1"/>
          <p:nvPr/>
        </p:nvSpPr>
        <p:spPr>
          <a:xfrm>
            <a:off x="6464019" y="2020778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 gleichverteilt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6%; w = 44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EB2ADD2-3FB6-FC85-DE74-594E4470F33C}"/>
              </a:ext>
            </a:extLst>
          </p:cNvPr>
          <p:cNvSpPr txBox="1"/>
          <p:nvPr/>
        </p:nvSpPr>
        <p:spPr>
          <a:xfrm>
            <a:off x="10417351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A92F78B-435C-E24B-D26C-9C7B71383180}"/>
              </a:ext>
            </a:extLst>
          </p:cNvPr>
          <p:cNvSpPr txBox="1"/>
          <p:nvPr/>
        </p:nvSpPr>
        <p:spPr>
          <a:xfrm>
            <a:off x="10417351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41A6E86-9D2C-40A0-B625-9AB18CE77063}"/>
              </a:ext>
            </a:extLst>
          </p:cNvPr>
          <p:cNvSpPr txBox="1"/>
          <p:nvPr/>
        </p:nvSpPr>
        <p:spPr>
          <a:xfrm>
            <a:off x="4550895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AB6EE53-B282-C804-41DD-94ECFA340D8F}"/>
              </a:ext>
            </a:extLst>
          </p:cNvPr>
          <p:cNvSpPr txBox="1"/>
          <p:nvPr/>
        </p:nvSpPr>
        <p:spPr>
          <a:xfrm>
            <a:off x="4552425" y="5992164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C18D0ED-01AE-0A72-CE01-067FC9925838}"/>
              </a:ext>
            </a:extLst>
          </p:cNvPr>
          <p:cNvSpPr txBox="1"/>
          <p:nvPr/>
        </p:nvSpPr>
        <p:spPr>
          <a:xfrm>
            <a:off x="4550894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F892EA3-8D24-FF3B-92EB-85CF40E06592}"/>
              </a:ext>
            </a:extLst>
          </p:cNvPr>
          <p:cNvSpPr txBox="1"/>
          <p:nvPr/>
        </p:nvSpPr>
        <p:spPr>
          <a:xfrm>
            <a:off x="10417351" y="5990028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1C74088-BCA4-20A1-080A-06E58CB09AE2}"/>
              </a:ext>
            </a:extLst>
          </p:cNvPr>
          <p:cNvSpPr txBox="1"/>
          <p:nvPr/>
        </p:nvSpPr>
        <p:spPr>
          <a:xfrm>
            <a:off x="10393668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7AA1AB8-D55E-8B77-C179-217F99134D67}"/>
              </a:ext>
            </a:extLst>
          </p:cNvPr>
          <p:cNvSpPr txBox="1"/>
          <p:nvPr/>
        </p:nvSpPr>
        <p:spPr>
          <a:xfrm>
            <a:off x="654341" y="4414603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7%; w = 43%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BB7C4CD-F157-FCEA-1264-8A695A0D0EAB}"/>
              </a:ext>
            </a:extLst>
          </p:cNvPr>
          <p:cNvSpPr txBox="1"/>
          <p:nvPr/>
        </p:nvSpPr>
        <p:spPr>
          <a:xfrm>
            <a:off x="6464019" y="4406689"/>
            <a:ext cx="5591788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2,7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1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w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331FEBC-A1B5-36BA-9B71-EE2E62A8EFCE}"/>
              </a:ext>
            </a:extLst>
          </p:cNvPr>
          <p:cNvSpPr txBox="1"/>
          <p:nvPr/>
        </p:nvSpPr>
        <p:spPr>
          <a:xfrm>
            <a:off x="6464019" y="2718853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 gleichverteil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3%; w = 47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21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03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6C0CFE7-74A1-192C-4A53-F0756FA22B50}"/>
              </a:ext>
            </a:extLst>
          </p:cNvPr>
          <p:cNvSpPr txBox="1"/>
          <p:nvPr/>
        </p:nvSpPr>
        <p:spPr>
          <a:xfrm>
            <a:off x="654341" y="5105384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4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6%; w = 44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34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1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AEA77CA-4BE7-51E7-7514-87218FB89A5F}"/>
              </a:ext>
            </a:extLst>
          </p:cNvPr>
          <p:cNvSpPr txBox="1"/>
          <p:nvPr/>
        </p:nvSpPr>
        <p:spPr>
          <a:xfrm>
            <a:off x="6464019" y="5124735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59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14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7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100%; w = 0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7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8347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PiML</a:t>
            </a:r>
            <a:r>
              <a:rPr lang="de-DE" dirty="0"/>
              <a:t> Datensätze sind viel größer und umfangreicher als die selbsterstellen Datensätz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DC631E-51C8-AD06-F4D2-A47082B44159}"/>
              </a:ext>
            </a:extLst>
          </p:cNvPr>
          <p:cNvSpPr txBox="1"/>
          <p:nvPr/>
        </p:nvSpPr>
        <p:spPr>
          <a:xfrm>
            <a:off x="509816" y="2056228"/>
            <a:ext cx="4607467" cy="23365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,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6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egorisch, 3 numerisch, 1 Entscheidungsattribut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0.000 Dateneinträge (Non-Bias) und 60.526 Dateneinträge (Bias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forderungsberechnungen weggelassen, da nicht genügend Kontext vorhanden war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und Intervalle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6340283" y="1982681"/>
            <a:ext cx="5404304" cy="1954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fakt terminierte nicht bei Durchführ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Abbruch nach &gt; 2h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Kreuzproduktdatei ~50 GB groß beim Abbruch</a:t>
            </a:r>
          </a:p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aher: Verwendung von Samples für Durchläuf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urchführungen für Samplegrößen von 5 bis 1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le 12">
            <a:extLst>
              <a:ext uri="{FF2B5EF4-FFF2-40B4-BE49-F238E27FC236}">
                <a16:creationId xmlns:a16="http://schemas.microsoft.com/office/drawing/2014/main" id="{A2903CB7-271F-0864-9E30-916823F2B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891788"/>
              </p:ext>
            </p:extLst>
          </p:nvPr>
        </p:nvGraphicFramePr>
        <p:xfrm>
          <a:off x="494501" y="4975614"/>
          <a:ext cx="11545050" cy="122282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4505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7167477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936259455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79605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2778704314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849030438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 err="1"/>
                        <a:t>Mortgage</a:t>
                      </a:r>
                      <a:endParaRPr lang="de-DE" sz="1100" dirty="0">
                        <a:latin typeface="+mn-lt"/>
                      </a:endParaRP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alanc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Amoun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Past</a:t>
                      </a:r>
                      <a:r>
                        <a:rPr lang="de-DE" sz="1100" dirty="0"/>
                        <a:t> Du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Delinquency</a:t>
                      </a:r>
                      <a:r>
                        <a:rPr lang="de-DE" sz="1100" dirty="0"/>
                        <a:t> Status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Credi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Inquiry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Open Trad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Utilization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nder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Race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Status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04698.2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.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822208.1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6839.3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2640.7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3484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r Durchführungen waren für beide Datensätze glei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 Ergebniss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905590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C275AB-DE76-FE32-8D16-96EA3FD0E7B6}"/>
              </a:ext>
            </a:extLst>
          </p:cNvPr>
          <p:cNvSpPr txBox="1"/>
          <p:nvPr/>
        </p:nvSpPr>
        <p:spPr>
          <a:xfrm>
            <a:off x="671117" y="5430177"/>
            <a:ext cx="739070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s beider Datensätze führten zu den selben Ergebniss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D2F4171-C866-027A-29FF-E055D6535981}"/>
              </a:ext>
            </a:extLst>
          </p:cNvPr>
          <p:cNvSpPr txBox="1"/>
          <p:nvPr/>
        </p:nvSpPr>
        <p:spPr>
          <a:xfrm>
            <a:off x="671117" y="5793842"/>
            <a:ext cx="775982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größe nicht groß genug, um akkurate Ergebnisse zu erhalten</a:t>
            </a:r>
          </a:p>
        </p:txBody>
      </p:sp>
    </p:spTree>
    <p:extLst>
      <p:ext uri="{BB962C8B-B14F-4D97-AF65-F5344CB8AC3E}">
        <p14:creationId xmlns:p14="http://schemas.microsoft.com/office/powerpoint/2010/main" val="25184593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vom Artefakt erzeugte Datei wird bei aufwendigeren Daten sehr schnell sehr groß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igröße-Wachstum Rechenbeispi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44476BF-4BC4-ECF7-202A-F89E8136B03E}"/>
              </a:ext>
            </a:extLst>
          </p:cNvPr>
          <p:cNvSpPr txBox="1"/>
          <p:nvPr/>
        </p:nvSpPr>
        <p:spPr>
          <a:xfrm>
            <a:off x="515937" y="1751712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/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: (</a:t>
                </a:r>
                <a:r>
                  <a:rPr lang="de-DE" sz="1600" dirty="0" err="1"/>
                  <a:t>m,w</a:t>
                </a:r>
                <a:r>
                  <a:rPr lang="de-DE" sz="1600" dirty="0"/>
                  <a:t>) ∗ (</a:t>
                </a:r>
                <a:r>
                  <a:rPr lang="de-DE" sz="1600" dirty="0" err="1"/>
                  <a:t>weiss</a:t>
                </a:r>
                <a:r>
                  <a:rPr lang="de-DE" sz="1600" dirty="0"/>
                  <a:t>, afroamerikanisch, asiatisch) ∗ (9,...,25) ∗ (3,...,36)</a:t>
                </a:r>
                <a:br>
                  <a:rPr lang="de-DE" sz="1600" dirty="0"/>
                </a:br>
                <a:r>
                  <a:rPr lang="de-DE" sz="1600" dirty="0"/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2∗3∗16∗33 = 3.168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r Ausprägung „d“ zum Attribut Geschlecht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 ∗ 3 ∗ 16 ∗ 33 = 4.752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s neuen Attributs „Standort“ mit 3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4.752 ∗ 3 = 14.256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𝐸𝑖𝑛𝑡𝑟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ä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𝑔𝑒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blipFill>
                <a:blip r:embed="rId3"/>
                <a:stretch>
                  <a:fillRect l="-1125" t="-3185" b="-57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BB6B7D58-FEF0-B5AE-94B8-2B477A0F42B0}"/>
              </a:ext>
            </a:extLst>
          </p:cNvPr>
          <p:cNvSpPr txBox="1"/>
          <p:nvPr/>
        </p:nvSpPr>
        <p:spPr>
          <a:xfrm>
            <a:off x="515937" y="4293783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/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 (Non Bias): </a:t>
                </a:r>
                <a:r>
                  <a:rPr lang="de-DE" sz="1600" dirty="0"/>
                  <a:t>(104.698,...,1.822.208) ∗ (2,...,16.839) ∗ (0,...,12640) ∗ (0,...,5) ∗ (0,...,11) ∗ (0,1) ∗ (0,1) ∗ (0,1) ∗ (0,1)</a:t>
                </a:r>
                <a:br>
                  <a:rPr lang="de-DE" sz="1600" dirty="0"/>
                </a:br>
                <a:r>
                  <a:rPr lang="de-DE" sz="1600" dirty="0"/>
                  <a:t>	- Anzahl an Dateneinträgen:</a:t>
                </a:r>
                <a14:m>
                  <m:oMath xmlns:m="http://schemas.openxmlformats.org/officeDocument/2006/math">
                    <m:r>
                      <a:rPr lang="de-DE" sz="16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1.717.510 ∗ 16.839 ∗ 12641 ∗ 6 ∗ 12 ∗ 2 ∗ 2 ∗ 2 ∗ 2 = </m:t>
                    </m:r>
                    <m:sSup>
                      <m:sSupPr>
                        <m:ctrlPr>
                          <a:rPr lang="de-DE" sz="1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genommen pro Zeile in der erzeugten CSV Datei sind durchschnittlich 30 Zeich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0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∗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= 12.634.868.795,9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𝐺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= 12.634,8687959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 12.635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</a:t>
                </a: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blipFill>
                <a:blip r:embed="rId4"/>
                <a:stretch>
                  <a:fillRect l="-1018" t="-4098" b="-77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7222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Faz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elte Methode löst das Problem theoretisch, aber nicht praktis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FD2A4819-6CAD-0BF2-BD23-EC3C3FEFCE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9449933"/>
              </p:ext>
            </p:extLst>
          </p:nvPr>
        </p:nvGraphicFramePr>
        <p:xfrm>
          <a:off x="1246683" y="1444092"/>
          <a:ext cx="9698632" cy="3698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Textfeld 19">
            <a:extLst>
              <a:ext uri="{FF2B5EF4-FFF2-40B4-BE49-F238E27FC236}">
                <a16:creationId xmlns:a16="http://schemas.microsoft.com/office/drawing/2014/main" id="{98DD672A-D452-D578-1969-C787EEC88434}"/>
              </a:ext>
            </a:extLst>
          </p:cNvPr>
          <p:cNvSpPr txBox="1"/>
          <p:nvPr/>
        </p:nvSpPr>
        <p:spPr>
          <a:xfrm>
            <a:off x="2197618" y="5546981"/>
            <a:ext cx="7796761" cy="6833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oretisch funktionierende Methode für die Forschungsfrage,</a:t>
            </a:r>
            <a:b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praktisch kaum anwendbar</a:t>
            </a:r>
          </a:p>
        </p:txBody>
      </p: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5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5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4776628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5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83</Words>
  <Application>Microsoft Office PowerPoint</Application>
  <PresentationFormat>Breitbild</PresentationFormat>
  <Paragraphs>421</Paragraphs>
  <Slides>37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3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 mehrere Werte erhoben und Kennzahlen berechnet</vt:lpstr>
      <vt:lpstr>Der Anteilsunterschied spiegelt die Stärke des Biases wieder</vt:lpstr>
      <vt:lpstr>Der Anforderungsabstand stellt den Bias mit einem praktischen Wert dar </vt:lpstr>
      <vt:lpstr>Das Artefakt liefert ein Ergebnis am Ende des Prozesses</vt:lpstr>
      <vt:lpstr>5. Experimente</vt:lpstr>
      <vt:lpstr>Es wurden 6 Datensätze zum Testen des Artefakts benutzt</vt:lpstr>
      <vt:lpstr>Die selbsterstellten Datensätze haben 5 Attribute und 84 Einträge</vt:lpstr>
      <vt:lpstr>Die Ergebnisse des Artefaktes kommen der Realität sehr nahe</vt:lpstr>
      <vt:lpstr>Die PiML Datensätze sind viel größer und umfangreicher als die selbsterstellen Datensätze</vt:lpstr>
      <vt:lpstr>Die Ergebnisse der Durchführungen waren für beide Datensätze gleich</vt:lpstr>
      <vt:lpstr>Die vom Artefakt erzeugte Datei wird bei aufwendigeren Daten sehr schnell sehr groß</vt:lpstr>
      <vt:lpstr>6. Fazit</vt:lpstr>
      <vt:lpstr>Die entwickelte Methode löst das Problem theoretisch, aber nicht praktisch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5T14:31:04Z</dcterms:modified>
</cp:coreProperties>
</file>